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3CEB31-3C65-4FA7-8A02-3422750E28EA}" v="21" dt="2023-02-07T23:18:50.7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EF3CEB31-3C65-4FA7-8A02-3422750E28EA}"/>
    <pc:docChg chg="undo custSel modSld">
      <pc:chgData name="Roberto Gallardo" userId="49a044883f185952" providerId="LiveId" clId="{EF3CEB31-3C65-4FA7-8A02-3422750E28EA}" dt="2023-02-08T00:09:43.426" v="551" actId="27918"/>
      <pc:docMkLst>
        <pc:docMk/>
      </pc:docMkLst>
      <pc:sldChg chg="modSp mod">
        <pc:chgData name="Roberto Gallardo" userId="49a044883f185952" providerId="LiveId" clId="{EF3CEB31-3C65-4FA7-8A02-3422750E28EA}" dt="2023-02-08T00:00:48.093" v="459" actId="6549"/>
        <pc:sldMkLst>
          <pc:docMk/>
          <pc:sldMk cId="2846901679" sldId="256"/>
        </pc:sldMkLst>
        <pc:spChg chg="mod">
          <ac:chgData name="Roberto Gallardo" userId="49a044883f185952" providerId="LiveId" clId="{EF3CEB31-3C65-4FA7-8A02-3422750E28EA}" dt="2023-02-08T00:00:48.093" v="459" actId="6549"/>
          <ac:spMkLst>
            <pc:docMk/>
            <pc:sldMk cId="2846901679" sldId="256"/>
            <ac:spMk id="7" creationId="{B1E0ABEC-554C-720A-2772-F0324C8E93CA}"/>
          </ac:spMkLst>
        </pc:spChg>
      </pc:sldChg>
      <pc:sldChg chg="mod">
        <pc:chgData name="Roberto Gallardo" userId="49a044883f185952" providerId="LiveId" clId="{EF3CEB31-3C65-4FA7-8A02-3422750E28EA}" dt="2023-02-08T00:03:27.992" v="471" actId="27918"/>
        <pc:sldMkLst>
          <pc:docMk/>
          <pc:sldMk cId="3231157596" sldId="257"/>
        </pc:sldMkLst>
      </pc:sldChg>
      <pc:sldChg chg="mod">
        <pc:chgData name="Roberto Gallardo" userId="49a044883f185952" providerId="LiveId" clId="{EF3CEB31-3C65-4FA7-8A02-3422750E28EA}" dt="2023-02-08T00:03:02.240" v="465" actId="27918"/>
        <pc:sldMkLst>
          <pc:docMk/>
          <pc:sldMk cId="3702837515" sldId="258"/>
        </pc:sldMkLst>
      </pc:sldChg>
      <pc:sldChg chg="mod">
        <pc:chgData name="Roberto Gallardo" userId="49a044883f185952" providerId="LiveId" clId="{EF3CEB31-3C65-4FA7-8A02-3422750E28EA}" dt="2023-02-08T00:03:15.714" v="468" actId="27918"/>
        <pc:sldMkLst>
          <pc:docMk/>
          <pc:sldMk cId="2519083202" sldId="259"/>
        </pc:sldMkLst>
      </pc:sldChg>
      <pc:sldChg chg="mod">
        <pc:chgData name="Roberto Gallardo" userId="49a044883f185952" providerId="LiveId" clId="{EF3CEB31-3C65-4FA7-8A02-3422750E28EA}" dt="2023-02-08T00:01:00.469" v="462" actId="27918"/>
        <pc:sldMkLst>
          <pc:docMk/>
          <pc:sldMk cId="3877078759" sldId="260"/>
        </pc:sldMkLst>
      </pc:sldChg>
      <pc:sldChg chg="mod">
        <pc:chgData name="Roberto Gallardo" userId="49a044883f185952" providerId="LiveId" clId="{EF3CEB31-3C65-4FA7-8A02-3422750E28EA}" dt="2023-02-08T00:05:14.014" v="483" actId="27918"/>
        <pc:sldMkLst>
          <pc:docMk/>
          <pc:sldMk cId="1175010214" sldId="261"/>
        </pc:sldMkLst>
      </pc:sldChg>
      <pc:sldChg chg="addSp modSp mod">
        <pc:chgData name="Roberto Gallardo" userId="49a044883f185952" providerId="LiveId" clId="{EF3CEB31-3C65-4FA7-8A02-3422750E28EA}" dt="2023-02-07T00:49:40.655" v="85" actId="1076"/>
        <pc:sldMkLst>
          <pc:docMk/>
          <pc:sldMk cId="1418533539" sldId="271"/>
        </pc:sldMkLst>
        <pc:picChg chg="add mod">
          <ac:chgData name="Roberto Gallardo" userId="49a044883f185952" providerId="LiveId" clId="{EF3CEB31-3C65-4FA7-8A02-3422750E28EA}" dt="2023-02-07T00:49:40.655" v="85" actId="1076"/>
          <ac:picMkLst>
            <pc:docMk/>
            <pc:sldMk cId="1418533539" sldId="271"/>
            <ac:picMk id="6" creationId="{99A82F7E-D20A-F0A2-A2AE-924F3B23E85C}"/>
          </ac:picMkLst>
        </pc:picChg>
      </pc:sldChg>
      <pc:sldChg chg="mod">
        <pc:chgData name="Roberto Gallardo" userId="49a044883f185952" providerId="LiveId" clId="{EF3CEB31-3C65-4FA7-8A02-3422750E28EA}" dt="2023-02-08T00:03:40.790" v="474" actId="27918"/>
        <pc:sldMkLst>
          <pc:docMk/>
          <pc:sldMk cId="2653937722" sldId="272"/>
        </pc:sldMkLst>
      </pc:sldChg>
      <pc:sldChg chg="mod">
        <pc:chgData name="Roberto Gallardo" userId="49a044883f185952" providerId="LiveId" clId="{EF3CEB31-3C65-4FA7-8A02-3422750E28EA}" dt="2023-02-08T00:09:13.774" v="542" actId="27918"/>
        <pc:sldMkLst>
          <pc:docMk/>
          <pc:sldMk cId="2076698419" sldId="273"/>
        </pc:sldMkLst>
      </pc:sldChg>
      <pc:sldChg chg="mod">
        <pc:chgData name="Roberto Gallardo" userId="49a044883f185952" providerId="LiveId" clId="{EF3CEB31-3C65-4FA7-8A02-3422750E28EA}" dt="2023-02-08T00:09:34.766" v="548" actId="27918"/>
        <pc:sldMkLst>
          <pc:docMk/>
          <pc:sldMk cId="3802335161" sldId="274"/>
        </pc:sldMkLst>
      </pc:sldChg>
      <pc:sldChg chg="mod">
        <pc:chgData name="Roberto Gallardo" userId="49a044883f185952" providerId="LiveId" clId="{EF3CEB31-3C65-4FA7-8A02-3422750E28EA}" dt="2023-02-08T00:09:43.426" v="551" actId="27918"/>
        <pc:sldMkLst>
          <pc:docMk/>
          <pc:sldMk cId="4292554322" sldId="275"/>
        </pc:sldMkLst>
      </pc:sldChg>
      <pc:sldChg chg="modSp mod">
        <pc:chgData name="Roberto Gallardo" userId="49a044883f185952" providerId="LiveId" clId="{EF3CEB31-3C65-4FA7-8A02-3422750E28EA}" dt="2023-02-08T00:09:22.765" v="545" actId="27918"/>
        <pc:sldMkLst>
          <pc:docMk/>
          <pc:sldMk cId="513409896" sldId="276"/>
        </pc:sldMkLst>
        <pc:spChg chg="mod">
          <ac:chgData name="Roberto Gallardo" userId="49a044883f185952" providerId="LiveId" clId="{EF3CEB31-3C65-4FA7-8A02-3422750E28EA}" dt="2023-02-07T00:53:11.761" v="150" actId="1036"/>
          <ac:spMkLst>
            <pc:docMk/>
            <pc:sldMk cId="513409896" sldId="276"/>
            <ac:spMk id="21" creationId="{9A68ADBE-AECC-EE60-7E94-3675B33E08AE}"/>
          </ac:spMkLst>
        </pc:spChg>
        <pc:cxnChg chg="mod">
          <ac:chgData name="Roberto Gallardo" userId="49a044883f185952" providerId="LiveId" clId="{EF3CEB31-3C65-4FA7-8A02-3422750E28EA}" dt="2023-02-07T00:53:11.761" v="150" actId="1036"/>
          <ac:cxnSpMkLst>
            <pc:docMk/>
            <pc:sldMk cId="513409896" sldId="276"/>
            <ac:cxnSpMk id="22" creationId="{1B423FA0-E4B3-6570-929B-A9283D503787}"/>
          </ac:cxnSpMkLst>
        </pc:cxnChg>
        <pc:cxnChg chg="mod">
          <ac:chgData name="Roberto Gallardo" userId="49a044883f185952" providerId="LiveId" clId="{EF3CEB31-3C65-4FA7-8A02-3422750E28EA}" dt="2023-02-07T00:53:11.761" v="150" actId="1036"/>
          <ac:cxnSpMkLst>
            <pc:docMk/>
            <pc:sldMk cId="513409896" sldId="276"/>
            <ac:cxnSpMk id="23" creationId="{D616797E-0044-3804-BA5A-23B8EB309CA5}"/>
          </ac:cxnSpMkLst>
        </pc:cxnChg>
        <pc:cxnChg chg="mod">
          <ac:chgData name="Roberto Gallardo" userId="49a044883f185952" providerId="LiveId" clId="{EF3CEB31-3C65-4FA7-8A02-3422750E28EA}" dt="2023-02-07T00:53:11.761" v="150" actId="1036"/>
          <ac:cxnSpMkLst>
            <pc:docMk/>
            <pc:sldMk cId="513409896" sldId="276"/>
            <ac:cxnSpMk id="24" creationId="{20A6256E-6780-BAE0-B803-D02FE024579F}"/>
          </ac:cxnSpMkLst>
        </pc:cxnChg>
        <pc:cxnChg chg="mod">
          <ac:chgData name="Roberto Gallardo" userId="49a044883f185952" providerId="LiveId" clId="{EF3CEB31-3C65-4FA7-8A02-3422750E28EA}" dt="2023-02-07T00:53:11.761" v="150" actId="1036"/>
          <ac:cxnSpMkLst>
            <pc:docMk/>
            <pc:sldMk cId="513409896" sldId="276"/>
            <ac:cxnSpMk id="25" creationId="{62B7492E-2C75-E0CD-947E-C582F412F7D7}"/>
          </ac:cxnSpMkLst>
        </pc:cxnChg>
      </pc:sldChg>
      <pc:sldChg chg="mod">
        <pc:chgData name="Roberto Gallardo" userId="49a044883f185952" providerId="LiveId" clId="{EF3CEB31-3C65-4FA7-8A02-3422750E28EA}" dt="2023-02-08T00:09:05.194" v="539" actId="27918"/>
        <pc:sldMkLst>
          <pc:docMk/>
          <pc:sldMk cId="349244952" sldId="278"/>
        </pc:sldMkLst>
      </pc:sldChg>
      <pc:sldChg chg="addSp modSp mod">
        <pc:chgData name="Roberto Gallardo" userId="49a044883f185952" providerId="LiveId" clId="{EF3CEB31-3C65-4FA7-8A02-3422750E28EA}" dt="2023-02-08T00:06:13.255" v="498" actId="27918"/>
        <pc:sldMkLst>
          <pc:docMk/>
          <pc:sldMk cId="2124848710" sldId="281"/>
        </pc:sldMkLst>
        <pc:picChg chg="add mod">
          <ac:chgData name="Roberto Gallardo" userId="49a044883f185952" providerId="LiveId" clId="{EF3CEB31-3C65-4FA7-8A02-3422750E28EA}" dt="2023-02-07T22:54:20.410" v="210" actId="1076"/>
          <ac:picMkLst>
            <pc:docMk/>
            <pc:sldMk cId="2124848710" sldId="281"/>
            <ac:picMk id="5" creationId="{C5E457C5-ED5C-5CED-B685-0DE5DD87269A}"/>
          </ac:picMkLst>
        </pc:picChg>
      </pc:sldChg>
      <pc:sldChg chg="addSp modSp mod">
        <pc:chgData name="Roberto Gallardo" userId="49a044883f185952" providerId="LiveId" clId="{EF3CEB31-3C65-4FA7-8A02-3422750E28EA}" dt="2023-02-08T00:06:26.710" v="501" actId="27918"/>
        <pc:sldMkLst>
          <pc:docMk/>
          <pc:sldMk cId="2028175529" sldId="282"/>
        </pc:sldMkLst>
        <pc:picChg chg="add mod">
          <ac:chgData name="Roberto Gallardo" userId="49a044883f185952" providerId="LiveId" clId="{EF3CEB31-3C65-4FA7-8A02-3422750E28EA}" dt="2023-02-07T22:56:26.262" v="228" actId="1076"/>
          <ac:picMkLst>
            <pc:docMk/>
            <pc:sldMk cId="2028175529" sldId="282"/>
            <ac:picMk id="5" creationId="{B1374096-2618-41D8-F03F-7708D6B0EBD2}"/>
          </ac:picMkLst>
        </pc:picChg>
      </pc:sldChg>
      <pc:sldChg chg="addSp delSp modSp mod">
        <pc:chgData name="Roberto Gallardo" userId="49a044883f185952" providerId="LiveId" clId="{EF3CEB31-3C65-4FA7-8A02-3422750E28EA}" dt="2023-02-08T00:06:40.750" v="506" actId="27918"/>
        <pc:sldMkLst>
          <pc:docMk/>
          <pc:sldMk cId="1326517747" sldId="283"/>
        </pc:sldMkLst>
        <pc:graphicFrameChg chg="mod">
          <ac:chgData name="Roberto Gallardo" userId="49a044883f185952" providerId="LiveId" clId="{EF3CEB31-3C65-4FA7-8A02-3422750E28EA}" dt="2023-02-08T00:06:35.259" v="505" actId="1076"/>
          <ac:graphicFrameMkLst>
            <pc:docMk/>
            <pc:sldMk cId="1326517747" sldId="283"/>
            <ac:graphicFrameMk id="6" creationId="{CE45C3AF-C253-DC6A-54C2-FE3F8F710345}"/>
          </ac:graphicFrameMkLst>
        </pc:graphicFrameChg>
        <pc:picChg chg="add del mod">
          <ac:chgData name="Roberto Gallardo" userId="49a044883f185952" providerId="LiveId" clId="{EF3CEB31-3C65-4FA7-8A02-3422750E28EA}" dt="2023-02-07T23:15:07.909" v="451" actId="478"/>
          <ac:picMkLst>
            <pc:docMk/>
            <pc:sldMk cId="1326517747" sldId="283"/>
            <ac:picMk id="5" creationId="{A13CB12A-2086-7E3D-DAB1-6A5A2C6EEAE1}"/>
          </ac:picMkLst>
        </pc:picChg>
        <pc:picChg chg="add mod">
          <ac:chgData name="Roberto Gallardo" userId="49a044883f185952" providerId="LiveId" clId="{EF3CEB31-3C65-4FA7-8A02-3422750E28EA}" dt="2023-02-07T23:19:03.984" v="458" actId="1076"/>
          <ac:picMkLst>
            <pc:docMk/>
            <pc:sldMk cId="1326517747" sldId="283"/>
            <ac:picMk id="9" creationId="{EBB4C965-9B9C-6F4B-A658-FB03B5BA3C25}"/>
          </ac:picMkLst>
        </pc:picChg>
      </pc:sldChg>
      <pc:sldChg chg="addSp modSp mod">
        <pc:chgData name="Roberto Gallardo" userId="49a044883f185952" providerId="LiveId" clId="{EF3CEB31-3C65-4FA7-8A02-3422750E28EA}" dt="2023-02-08T00:06:53.134" v="509" actId="27918"/>
        <pc:sldMkLst>
          <pc:docMk/>
          <pc:sldMk cId="783739251" sldId="284"/>
        </pc:sldMkLst>
        <pc:picChg chg="add mod">
          <ac:chgData name="Roberto Gallardo" userId="49a044883f185952" providerId="LiveId" clId="{EF3CEB31-3C65-4FA7-8A02-3422750E28EA}" dt="2023-02-07T23:00:33.933" v="265" actId="1076"/>
          <ac:picMkLst>
            <pc:docMk/>
            <pc:sldMk cId="783739251" sldId="284"/>
            <ac:picMk id="5" creationId="{E3894B73-69DA-B4D7-B42E-253AC550C809}"/>
          </ac:picMkLst>
        </pc:picChg>
      </pc:sldChg>
      <pc:sldChg chg="addSp modSp mod">
        <pc:chgData name="Roberto Gallardo" userId="49a044883f185952" providerId="LiveId" clId="{EF3CEB31-3C65-4FA7-8A02-3422750E28EA}" dt="2023-02-08T00:07:08.524" v="512" actId="27918"/>
        <pc:sldMkLst>
          <pc:docMk/>
          <pc:sldMk cId="1676122233" sldId="285"/>
        </pc:sldMkLst>
        <pc:picChg chg="add mod">
          <ac:chgData name="Roberto Gallardo" userId="49a044883f185952" providerId="LiveId" clId="{EF3CEB31-3C65-4FA7-8A02-3422750E28EA}" dt="2023-02-07T23:01:56.993" v="284" actId="1076"/>
          <ac:picMkLst>
            <pc:docMk/>
            <pc:sldMk cId="1676122233" sldId="285"/>
            <ac:picMk id="5" creationId="{65945ADD-2FCD-70A4-90E3-436619DC03EA}"/>
          </ac:picMkLst>
        </pc:picChg>
      </pc:sldChg>
      <pc:sldChg chg="addSp modSp mod">
        <pc:chgData name="Roberto Gallardo" userId="49a044883f185952" providerId="LiveId" clId="{EF3CEB31-3C65-4FA7-8A02-3422750E28EA}" dt="2023-02-08T00:07:20.150" v="515" actId="27918"/>
        <pc:sldMkLst>
          <pc:docMk/>
          <pc:sldMk cId="3100398757" sldId="286"/>
        </pc:sldMkLst>
        <pc:picChg chg="add mod">
          <ac:chgData name="Roberto Gallardo" userId="49a044883f185952" providerId="LiveId" clId="{EF3CEB31-3C65-4FA7-8A02-3422750E28EA}" dt="2023-02-07T23:03:18.046" v="302" actId="1076"/>
          <ac:picMkLst>
            <pc:docMk/>
            <pc:sldMk cId="3100398757" sldId="286"/>
            <ac:picMk id="5" creationId="{9EA6B745-A522-E460-5794-D4DBE88FC3B8}"/>
          </ac:picMkLst>
        </pc:picChg>
      </pc:sldChg>
      <pc:sldChg chg="addSp modSp mod">
        <pc:chgData name="Roberto Gallardo" userId="49a044883f185952" providerId="LiveId" clId="{EF3CEB31-3C65-4FA7-8A02-3422750E28EA}" dt="2023-02-08T00:07:31.950" v="518" actId="27918"/>
        <pc:sldMkLst>
          <pc:docMk/>
          <pc:sldMk cId="1546475425" sldId="287"/>
        </pc:sldMkLst>
        <pc:picChg chg="add mod">
          <ac:chgData name="Roberto Gallardo" userId="49a044883f185952" providerId="LiveId" clId="{EF3CEB31-3C65-4FA7-8A02-3422750E28EA}" dt="2023-02-07T23:04:58.970" v="322" actId="1076"/>
          <ac:picMkLst>
            <pc:docMk/>
            <pc:sldMk cId="1546475425" sldId="287"/>
            <ac:picMk id="5" creationId="{4BAB61A8-73ED-E6D5-228B-E70A024FA769}"/>
          </ac:picMkLst>
        </pc:picChg>
      </pc:sldChg>
      <pc:sldChg chg="addSp modSp mod">
        <pc:chgData name="Roberto Gallardo" userId="49a044883f185952" providerId="LiveId" clId="{EF3CEB31-3C65-4FA7-8A02-3422750E28EA}" dt="2023-02-08T00:07:57.290" v="524" actId="27918"/>
        <pc:sldMkLst>
          <pc:docMk/>
          <pc:sldMk cId="1380517306" sldId="288"/>
        </pc:sldMkLst>
        <pc:picChg chg="add mod">
          <ac:chgData name="Roberto Gallardo" userId="49a044883f185952" providerId="LiveId" clId="{EF3CEB31-3C65-4FA7-8A02-3422750E28EA}" dt="2023-02-07T23:07:45.829" v="365" actId="1076"/>
          <ac:picMkLst>
            <pc:docMk/>
            <pc:sldMk cId="1380517306" sldId="288"/>
            <ac:picMk id="5" creationId="{7E47AC4F-586F-0257-7D3E-D321E5805C57}"/>
          </ac:picMkLst>
        </pc:picChg>
      </pc:sldChg>
      <pc:sldChg chg="addSp modSp mod">
        <pc:chgData name="Roberto Gallardo" userId="49a044883f185952" providerId="LiveId" clId="{EF3CEB31-3C65-4FA7-8A02-3422750E28EA}" dt="2023-02-08T00:08:11.037" v="527" actId="27918"/>
        <pc:sldMkLst>
          <pc:docMk/>
          <pc:sldMk cId="1388671151" sldId="289"/>
        </pc:sldMkLst>
        <pc:picChg chg="add mod">
          <ac:chgData name="Roberto Gallardo" userId="49a044883f185952" providerId="LiveId" clId="{EF3CEB31-3C65-4FA7-8A02-3422750E28EA}" dt="2023-02-07T23:09:00.354" v="382" actId="1076"/>
          <ac:picMkLst>
            <pc:docMk/>
            <pc:sldMk cId="1388671151" sldId="289"/>
            <ac:picMk id="5" creationId="{8E4E9A22-EDA8-999D-DC42-D649F8343112}"/>
          </ac:picMkLst>
        </pc:picChg>
      </pc:sldChg>
      <pc:sldChg chg="addSp modSp mod">
        <pc:chgData name="Roberto Gallardo" userId="49a044883f185952" providerId="LiveId" clId="{EF3CEB31-3C65-4FA7-8A02-3422750E28EA}" dt="2023-02-08T00:08:41.560" v="533" actId="27918"/>
        <pc:sldMkLst>
          <pc:docMk/>
          <pc:sldMk cId="2355376039" sldId="290"/>
        </pc:sldMkLst>
        <pc:picChg chg="add mod">
          <ac:chgData name="Roberto Gallardo" userId="49a044883f185952" providerId="LiveId" clId="{EF3CEB31-3C65-4FA7-8A02-3422750E28EA}" dt="2023-02-07T23:11:59.413" v="425" actId="1038"/>
          <ac:picMkLst>
            <pc:docMk/>
            <pc:sldMk cId="2355376039" sldId="290"/>
            <ac:picMk id="8" creationId="{22CD850D-DC65-DF08-5866-227709E7696B}"/>
          </ac:picMkLst>
        </pc:picChg>
      </pc:sldChg>
      <pc:sldChg chg="addSp modSp mod">
        <pc:chgData name="Roberto Gallardo" userId="49a044883f185952" providerId="LiveId" clId="{EF3CEB31-3C65-4FA7-8A02-3422750E28EA}" dt="2023-02-08T00:08:56.121" v="536" actId="27918"/>
        <pc:sldMkLst>
          <pc:docMk/>
          <pc:sldMk cId="3757257295" sldId="291"/>
        </pc:sldMkLst>
        <pc:picChg chg="add mod">
          <ac:chgData name="Roberto Gallardo" userId="49a044883f185952" providerId="LiveId" clId="{EF3CEB31-3C65-4FA7-8A02-3422750E28EA}" dt="2023-02-07T23:13:42.310" v="449" actId="1037"/>
          <ac:picMkLst>
            <pc:docMk/>
            <pc:sldMk cId="3757257295" sldId="291"/>
            <ac:picMk id="7" creationId="{F86C499A-8098-0A0A-BE01-AEBC38265789}"/>
          </ac:picMkLst>
        </pc:picChg>
      </pc:sldChg>
      <pc:sldChg chg="addSp modSp mod">
        <pc:chgData name="Roberto Gallardo" userId="49a044883f185952" providerId="LiveId" clId="{EF3CEB31-3C65-4FA7-8A02-3422750E28EA}" dt="2023-02-08T00:07:44.313" v="521" actId="27918"/>
        <pc:sldMkLst>
          <pc:docMk/>
          <pc:sldMk cId="1259856727" sldId="292"/>
        </pc:sldMkLst>
        <pc:picChg chg="add mod">
          <ac:chgData name="Roberto Gallardo" userId="49a044883f185952" providerId="LiveId" clId="{EF3CEB31-3C65-4FA7-8A02-3422750E28EA}" dt="2023-02-07T23:06:17.902" v="348" actId="1038"/>
          <ac:picMkLst>
            <pc:docMk/>
            <pc:sldMk cId="1259856727" sldId="292"/>
            <ac:picMk id="5" creationId="{C9906559-9669-2C54-E86E-89210362B2F3}"/>
          </ac:picMkLst>
        </pc:picChg>
      </pc:sldChg>
      <pc:sldChg chg="addSp modSp mod">
        <pc:chgData name="Roberto Gallardo" userId="49a044883f185952" providerId="LiveId" clId="{EF3CEB31-3C65-4FA7-8A02-3422750E28EA}" dt="2023-02-08T00:06:01.623" v="495" actId="27918"/>
        <pc:sldMkLst>
          <pc:docMk/>
          <pc:sldMk cId="3324519687" sldId="293"/>
        </pc:sldMkLst>
        <pc:picChg chg="add mod">
          <ac:chgData name="Roberto Gallardo" userId="49a044883f185952" providerId="LiveId" clId="{EF3CEB31-3C65-4FA7-8A02-3422750E28EA}" dt="2023-02-07T00:56:18.421" v="193" actId="1076"/>
          <ac:picMkLst>
            <pc:docMk/>
            <pc:sldMk cId="3324519687" sldId="293"/>
            <ac:picMk id="7" creationId="{EBC77254-A4DF-351F-EA6C-B1B5289F4522}"/>
          </ac:picMkLst>
        </pc:picChg>
      </pc:sldChg>
      <pc:sldChg chg="addSp modSp mod">
        <pc:chgData name="Roberto Gallardo" userId="49a044883f185952" providerId="LiveId" clId="{EF3CEB31-3C65-4FA7-8A02-3422750E28EA}" dt="2023-02-08T00:05:38.683" v="489" actId="27918"/>
        <pc:sldMkLst>
          <pc:docMk/>
          <pc:sldMk cId="3256182630" sldId="295"/>
        </pc:sldMkLst>
        <pc:picChg chg="add mod">
          <ac:chgData name="Roberto Gallardo" userId="49a044883f185952" providerId="LiveId" clId="{EF3CEB31-3C65-4FA7-8A02-3422750E28EA}" dt="2023-02-07T00:51:39.563" v="120" actId="1076"/>
          <ac:picMkLst>
            <pc:docMk/>
            <pc:sldMk cId="3256182630" sldId="295"/>
            <ac:picMk id="6" creationId="{A41BD05C-C236-F90B-8935-D1A832981439}"/>
          </ac:picMkLst>
        </pc:picChg>
      </pc:sldChg>
      <pc:sldChg chg="addSp modSp mod">
        <pc:chgData name="Roberto Gallardo" userId="49a044883f185952" providerId="LiveId" clId="{EF3CEB31-3C65-4FA7-8A02-3422750E28EA}" dt="2023-02-08T00:05:50.723" v="492" actId="27918"/>
        <pc:sldMkLst>
          <pc:docMk/>
          <pc:sldMk cId="4057156843" sldId="296"/>
        </pc:sldMkLst>
        <pc:picChg chg="add mod">
          <ac:chgData name="Roberto Gallardo" userId="49a044883f185952" providerId="LiveId" clId="{EF3CEB31-3C65-4FA7-8A02-3422750E28EA}" dt="2023-02-07T00:55:14.563" v="176" actId="1076"/>
          <ac:picMkLst>
            <pc:docMk/>
            <pc:sldMk cId="4057156843" sldId="296"/>
            <ac:picMk id="6" creationId="{AAD9D7AD-E795-0B57-3E3A-B49F5BD75486}"/>
          </ac:picMkLst>
        </pc:picChg>
      </pc:sldChg>
      <pc:sldChg chg="addSp modSp mod">
        <pc:chgData name="Roberto Gallardo" userId="49a044883f185952" providerId="LiveId" clId="{EF3CEB31-3C65-4FA7-8A02-3422750E28EA}" dt="2023-02-07T00:50:30.068" v="103" actId="1076"/>
        <pc:sldMkLst>
          <pc:docMk/>
          <pc:sldMk cId="2080110827" sldId="297"/>
        </pc:sldMkLst>
        <pc:picChg chg="add mod">
          <ac:chgData name="Roberto Gallardo" userId="49a044883f185952" providerId="LiveId" clId="{EF3CEB31-3C65-4FA7-8A02-3422750E28EA}" dt="2023-02-07T00:50:30.068" v="103" actId="1076"/>
          <ac:picMkLst>
            <pc:docMk/>
            <pc:sldMk cId="2080110827" sldId="297"/>
            <ac:picMk id="6" creationId="{AB9AAA0B-ABB1-63B9-A3E9-8A54CE7249DB}"/>
          </ac:picMkLst>
        </pc:picChg>
      </pc:sldChg>
      <pc:sldChg chg="addSp modSp mod">
        <pc:chgData name="Roberto Gallardo" userId="49a044883f185952" providerId="LiveId" clId="{EF3CEB31-3C65-4FA7-8A02-3422750E28EA}" dt="2023-02-07T00:50:07.545" v="94" actId="1076"/>
        <pc:sldMkLst>
          <pc:docMk/>
          <pc:sldMk cId="1532666867" sldId="298"/>
        </pc:sldMkLst>
        <pc:picChg chg="add mod">
          <ac:chgData name="Roberto Gallardo" userId="49a044883f185952" providerId="LiveId" clId="{EF3CEB31-3C65-4FA7-8A02-3422750E28EA}" dt="2023-02-07T00:50:07.545" v="94" actId="1076"/>
          <ac:picMkLst>
            <pc:docMk/>
            <pc:sldMk cId="1532666867" sldId="298"/>
            <ac:picMk id="6" creationId="{7B2320A2-20F2-0F98-A677-81B394AFAA89}"/>
          </ac:picMkLst>
        </pc:picChg>
      </pc:sldChg>
      <pc:sldChg chg="addSp modSp mod">
        <pc:chgData name="Roberto Gallardo" userId="49a044883f185952" providerId="LiveId" clId="{EF3CEB31-3C65-4FA7-8A02-3422750E28EA}" dt="2023-02-08T00:08:24.281" v="530" actId="27918"/>
        <pc:sldMkLst>
          <pc:docMk/>
          <pc:sldMk cId="1951376777" sldId="299"/>
        </pc:sldMkLst>
        <pc:picChg chg="add mod">
          <ac:chgData name="Roberto Gallardo" userId="49a044883f185952" providerId="LiveId" clId="{EF3CEB31-3C65-4FA7-8A02-3422750E28EA}" dt="2023-02-07T23:10:34.170" v="405" actId="1037"/>
          <ac:picMkLst>
            <pc:docMk/>
            <pc:sldMk cId="1951376777" sldId="299"/>
            <ac:picMk id="5" creationId="{85AC303E-5C15-2F57-FA28-15ACFEEFA442}"/>
          </ac:picMkLst>
        </pc:picChg>
      </pc:sldChg>
      <pc:sldChg chg="mod">
        <pc:chgData name="Roberto Gallardo" userId="49a044883f185952" providerId="LiveId" clId="{EF3CEB31-3C65-4FA7-8A02-3422750E28EA}" dt="2023-02-08T00:03:51.951" v="477" actId="27918"/>
        <pc:sldMkLst>
          <pc:docMk/>
          <pc:sldMk cId="2841628872" sldId="303"/>
        </pc:sldMkLst>
      </pc:sldChg>
      <pc:sldChg chg="mod">
        <pc:chgData name="Roberto Gallardo" userId="49a044883f185952" providerId="LiveId" clId="{EF3CEB31-3C65-4FA7-8A02-3422750E28EA}" dt="2023-02-08T00:05:00.561" v="480" actId="27918"/>
        <pc:sldMkLst>
          <pc:docMk/>
          <pc:sldMk cId="3084076302" sldId="304"/>
        </pc:sldMkLst>
      </pc:sldChg>
      <pc:sldChg chg="mod">
        <pc:chgData name="Roberto Gallardo" userId="49a044883f185952" providerId="LiveId" clId="{EF3CEB31-3C65-4FA7-8A02-3422750E28EA}" dt="2023-02-08T00:05:24.661" v="486" actId="27918"/>
        <pc:sldMkLst>
          <pc:docMk/>
          <pc:sldMk cId="473712435" sldId="305"/>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F9AB91B2-BAF9-4239-B4B5-87EA66B6F649}"/>
    <pc:docChg chg="custSel modSld">
      <pc:chgData name="Roberto Gallardo" userId="49a044883f185952" providerId="LiveId" clId="{F9AB91B2-BAF9-4239-B4B5-87EA66B6F649}" dt="2023-02-06T00:11:55.742" v="30" actId="478"/>
      <pc:docMkLst>
        <pc:docMk/>
      </pc:docMkLst>
      <pc:sldChg chg="modSp mod">
        <pc:chgData name="Roberto Gallardo" userId="49a044883f185952" providerId="LiveId" clId="{F9AB91B2-BAF9-4239-B4B5-87EA66B6F649}" dt="2023-02-06T00:10:13.973" v="11" actId="20577"/>
        <pc:sldMkLst>
          <pc:docMk/>
          <pc:sldMk cId="2846901679" sldId="256"/>
        </pc:sldMkLst>
        <pc:spChg chg="mod">
          <ac:chgData name="Roberto Gallardo" userId="49a044883f185952" providerId="LiveId" clId="{F9AB91B2-BAF9-4239-B4B5-87EA66B6F649}" dt="2023-02-06T00:10:13.973" v="11" actId="20577"/>
          <ac:spMkLst>
            <pc:docMk/>
            <pc:sldMk cId="2846901679" sldId="256"/>
            <ac:spMk id="7" creationId="{B1E0ABEC-554C-720A-2772-F0324C8E93CA}"/>
          </ac:spMkLst>
        </pc:spChg>
      </pc:sldChg>
      <pc:sldChg chg="delSp mod">
        <pc:chgData name="Roberto Gallardo" userId="49a044883f185952" providerId="LiveId" clId="{F9AB91B2-BAF9-4239-B4B5-87EA66B6F649}" dt="2023-02-06T00:10:44.363" v="12" actId="478"/>
        <pc:sldMkLst>
          <pc:docMk/>
          <pc:sldMk cId="1418533539" sldId="271"/>
        </pc:sldMkLst>
        <pc:picChg chg="del">
          <ac:chgData name="Roberto Gallardo" userId="49a044883f185952" providerId="LiveId" clId="{F9AB91B2-BAF9-4239-B4B5-87EA66B6F649}" dt="2023-02-06T00:10:44.363" v="12" actId="478"/>
          <ac:picMkLst>
            <pc:docMk/>
            <pc:sldMk cId="1418533539" sldId="271"/>
            <ac:picMk id="7" creationId="{CF74D533-2D85-32B8-6A1F-30678252C584}"/>
          </ac:picMkLst>
        </pc:picChg>
      </pc:sldChg>
      <pc:sldChg chg="delSp mod">
        <pc:chgData name="Roberto Gallardo" userId="49a044883f185952" providerId="LiveId" clId="{F9AB91B2-BAF9-4239-B4B5-87EA66B6F649}" dt="2023-02-06T00:11:08.640" v="18" actId="478"/>
        <pc:sldMkLst>
          <pc:docMk/>
          <pc:sldMk cId="2124848710" sldId="281"/>
        </pc:sldMkLst>
        <pc:picChg chg="del">
          <ac:chgData name="Roberto Gallardo" userId="49a044883f185952" providerId="LiveId" clId="{F9AB91B2-BAF9-4239-B4B5-87EA66B6F649}" dt="2023-02-06T00:11:08.640" v="18" actId="478"/>
          <ac:picMkLst>
            <pc:docMk/>
            <pc:sldMk cId="2124848710" sldId="281"/>
            <ac:picMk id="5" creationId="{48719103-E2CA-CC6F-A9D3-6D2BD284EC6D}"/>
          </ac:picMkLst>
        </pc:picChg>
      </pc:sldChg>
      <pc:sldChg chg="delSp mod">
        <pc:chgData name="Roberto Gallardo" userId="49a044883f185952" providerId="LiveId" clId="{F9AB91B2-BAF9-4239-B4B5-87EA66B6F649}" dt="2023-02-06T00:11:12.405" v="19" actId="478"/>
        <pc:sldMkLst>
          <pc:docMk/>
          <pc:sldMk cId="2028175529" sldId="282"/>
        </pc:sldMkLst>
        <pc:picChg chg="del">
          <ac:chgData name="Roberto Gallardo" userId="49a044883f185952" providerId="LiveId" clId="{F9AB91B2-BAF9-4239-B4B5-87EA66B6F649}" dt="2023-02-06T00:11:12.405" v="19" actId="478"/>
          <ac:picMkLst>
            <pc:docMk/>
            <pc:sldMk cId="2028175529" sldId="282"/>
            <ac:picMk id="8" creationId="{CFE023EC-0FF0-6406-85A7-175F15D08D2F}"/>
          </ac:picMkLst>
        </pc:picChg>
      </pc:sldChg>
      <pc:sldChg chg="delSp mod">
        <pc:chgData name="Roberto Gallardo" userId="49a044883f185952" providerId="LiveId" clId="{F9AB91B2-BAF9-4239-B4B5-87EA66B6F649}" dt="2023-02-06T00:11:17.242" v="20" actId="478"/>
        <pc:sldMkLst>
          <pc:docMk/>
          <pc:sldMk cId="1326517747" sldId="283"/>
        </pc:sldMkLst>
        <pc:picChg chg="del">
          <ac:chgData name="Roberto Gallardo" userId="49a044883f185952" providerId="LiveId" clId="{F9AB91B2-BAF9-4239-B4B5-87EA66B6F649}" dt="2023-02-06T00:11:17.242" v="20" actId="478"/>
          <ac:picMkLst>
            <pc:docMk/>
            <pc:sldMk cId="1326517747" sldId="283"/>
            <ac:picMk id="8" creationId="{9A29E625-A19A-7665-D4A2-F80734D2096C}"/>
          </ac:picMkLst>
        </pc:picChg>
      </pc:sldChg>
      <pc:sldChg chg="delSp mod">
        <pc:chgData name="Roberto Gallardo" userId="49a044883f185952" providerId="LiveId" clId="{F9AB91B2-BAF9-4239-B4B5-87EA66B6F649}" dt="2023-02-06T00:11:21.050" v="21" actId="478"/>
        <pc:sldMkLst>
          <pc:docMk/>
          <pc:sldMk cId="783739251" sldId="284"/>
        </pc:sldMkLst>
        <pc:picChg chg="del">
          <ac:chgData name="Roberto Gallardo" userId="49a044883f185952" providerId="LiveId" clId="{F9AB91B2-BAF9-4239-B4B5-87EA66B6F649}" dt="2023-02-06T00:11:21.050" v="21" actId="478"/>
          <ac:picMkLst>
            <pc:docMk/>
            <pc:sldMk cId="783739251" sldId="284"/>
            <ac:picMk id="8" creationId="{63CDE078-CCBF-8497-C770-4245D0782293}"/>
          </ac:picMkLst>
        </pc:picChg>
      </pc:sldChg>
      <pc:sldChg chg="delSp mod">
        <pc:chgData name="Roberto Gallardo" userId="49a044883f185952" providerId="LiveId" clId="{F9AB91B2-BAF9-4239-B4B5-87EA66B6F649}" dt="2023-02-06T00:11:24.362" v="22" actId="478"/>
        <pc:sldMkLst>
          <pc:docMk/>
          <pc:sldMk cId="1676122233" sldId="285"/>
        </pc:sldMkLst>
        <pc:picChg chg="del">
          <ac:chgData name="Roberto Gallardo" userId="49a044883f185952" providerId="LiveId" clId="{F9AB91B2-BAF9-4239-B4B5-87EA66B6F649}" dt="2023-02-06T00:11:24.362" v="22" actId="478"/>
          <ac:picMkLst>
            <pc:docMk/>
            <pc:sldMk cId="1676122233" sldId="285"/>
            <ac:picMk id="8" creationId="{301A97BC-685B-5788-F49B-36F9BF8D7A6A}"/>
          </ac:picMkLst>
        </pc:picChg>
      </pc:sldChg>
      <pc:sldChg chg="delSp mod">
        <pc:chgData name="Roberto Gallardo" userId="49a044883f185952" providerId="LiveId" clId="{F9AB91B2-BAF9-4239-B4B5-87EA66B6F649}" dt="2023-02-06T00:11:28.151" v="23" actId="478"/>
        <pc:sldMkLst>
          <pc:docMk/>
          <pc:sldMk cId="3100398757" sldId="286"/>
        </pc:sldMkLst>
        <pc:picChg chg="del">
          <ac:chgData name="Roberto Gallardo" userId="49a044883f185952" providerId="LiveId" clId="{F9AB91B2-BAF9-4239-B4B5-87EA66B6F649}" dt="2023-02-06T00:11:28.151" v="23" actId="478"/>
          <ac:picMkLst>
            <pc:docMk/>
            <pc:sldMk cId="3100398757" sldId="286"/>
            <ac:picMk id="8" creationId="{1B94F364-0690-10E3-7A2A-1C3CCDD3C930}"/>
          </ac:picMkLst>
        </pc:picChg>
      </pc:sldChg>
      <pc:sldChg chg="delSp mod">
        <pc:chgData name="Roberto Gallardo" userId="49a044883f185952" providerId="LiveId" clId="{F9AB91B2-BAF9-4239-B4B5-87EA66B6F649}" dt="2023-02-06T00:11:32.001" v="24" actId="478"/>
        <pc:sldMkLst>
          <pc:docMk/>
          <pc:sldMk cId="1546475425" sldId="287"/>
        </pc:sldMkLst>
        <pc:picChg chg="del">
          <ac:chgData name="Roberto Gallardo" userId="49a044883f185952" providerId="LiveId" clId="{F9AB91B2-BAF9-4239-B4B5-87EA66B6F649}" dt="2023-02-06T00:11:32.001" v="24" actId="478"/>
          <ac:picMkLst>
            <pc:docMk/>
            <pc:sldMk cId="1546475425" sldId="287"/>
            <ac:picMk id="8" creationId="{CAA855F8-29C0-6C54-C3A3-891AD3FBAC60}"/>
          </ac:picMkLst>
        </pc:picChg>
      </pc:sldChg>
      <pc:sldChg chg="delSp mod">
        <pc:chgData name="Roberto Gallardo" userId="49a044883f185952" providerId="LiveId" clId="{F9AB91B2-BAF9-4239-B4B5-87EA66B6F649}" dt="2023-02-06T00:11:41.014" v="26" actId="478"/>
        <pc:sldMkLst>
          <pc:docMk/>
          <pc:sldMk cId="1380517306" sldId="288"/>
        </pc:sldMkLst>
        <pc:picChg chg="del">
          <ac:chgData name="Roberto Gallardo" userId="49a044883f185952" providerId="LiveId" clId="{F9AB91B2-BAF9-4239-B4B5-87EA66B6F649}" dt="2023-02-06T00:11:41.014" v="26" actId="478"/>
          <ac:picMkLst>
            <pc:docMk/>
            <pc:sldMk cId="1380517306" sldId="288"/>
            <ac:picMk id="8" creationId="{1269BCA3-CB6D-5913-CFF9-17C7374E8DE0}"/>
          </ac:picMkLst>
        </pc:picChg>
      </pc:sldChg>
      <pc:sldChg chg="delSp mod">
        <pc:chgData name="Roberto Gallardo" userId="49a044883f185952" providerId="LiveId" clId="{F9AB91B2-BAF9-4239-B4B5-87EA66B6F649}" dt="2023-02-06T00:11:44.255" v="27" actId="478"/>
        <pc:sldMkLst>
          <pc:docMk/>
          <pc:sldMk cId="1388671151" sldId="289"/>
        </pc:sldMkLst>
        <pc:picChg chg="del">
          <ac:chgData name="Roberto Gallardo" userId="49a044883f185952" providerId="LiveId" clId="{F9AB91B2-BAF9-4239-B4B5-87EA66B6F649}" dt="2023-02-06T00:11:44.255" v="27" actId="478"/>
          <ac:picMkLst>
            <pc:docMk/>
            <pc:sldMk cId="1388671151" sldId="289"/>
            <ac:picMk id="8" creationId="{6D17C1DE-5762-AC51-F9BA-92346D9A815C}"/>
          </ac:picMkLst>
        </pc:picChg>
      </pc:sldChg>
      <pc:sldChg chg="delSp mod">
        <pc:chgData name="Roberto Gallardo" userId="49a044883f185952" providerId="LiveId" clId="{F9AB91B2-BAF9-4239-B4B5-87EA66B6F649}" dt="2023-02-06T00:11:52.500" v="29" actId="478"/>
        <pc:sldMkLst>
          <pc:docMk/>
          <pc:sldMk cId="2355376039" sldId="290"/>
        </pc:sldMkLst>
        <pc:picChg chg="del">
          <ac:chgData name="Roberto Gallardo" userId="49a044883f185952" providerId="LiveId" clId="{F9AB91B2-BAF9-4239-B4B5-87EA66B6F649}" dt="2023-02-06T00:11:52.500" v="29" actId="478"/>
          <ac:picMkLst>
            <pc:docMk/>
            <pc:sldMk cId="2355376039" sldId="290"/>
            <ac:picMk id="8" creationId="{5DA0350F-FE6D-53CB-2AFD-AA6A8980488E}"/>
          </ac:picMkLst>
        </pc:picChg>
      </pc:sldChg>
      <pc:sldChg chg="delSp mod">
        <pc:chgData name="Roberto Gallardo" userId="49a044883f185952" providerId="LiveId" clId="{F9AB91B2-BAF9-4239-B4B5-87EA66B6F649}" dt="2023-02-06T00:11:55.742" v="30" actId="478"/>
        <pc:sldMkLst>
          <pc:docMk/>
          <pc:sldMk cId="3757257295" sldId="291"/>
        </pc:sldMkLst>
        <pc:picChg chg="del">
          <ac:chgData name="Roberto Gallardo" userId="49a044883f185952" providerId="LiveId" clId="{F9AB91B2-BAF9-4239-B4B5-87EA66B6F649}" dt="2023-02-06T00:11:55.742" v="30" actId="478"/>
          <ac:picMkLst>
            <pc:docMk/>
            <pc:sldMk cId="3757257295" sldId="291"/>
            <ac:picMk id="8" creationId="{AEE7ABCB-D0B0-3A13-45A8-D2CBAAA77EA6}"/>
          </ac:picMkLst>
        </pc:picChg>
      </pc:sldChg>
      <pc:sldChg chg="delSp mod">
        <pc:chgData name="Roberto Gallardo" userId="49a044883f185952" providerId="LiveId" clId="{F9AB91B2-BAF9-4239-B4B5-87EA66B6F649}" dt="2023-02-06T00:11:36.278" v="25" actId="478"/>
        <pc:sldMkLst>
          <pc:docMk/>
          <pc:sldMk cId="1259856727" sldId="292"/>
        </pc:sldMkLst>
        <pc:picChg chg="del">
          <ac:chgData name="Roberto Gallardo" userId="49a044883f185952" providerId="LiveId" clId="{F9AB91B2-BAF9-4239-B4B5-87EA66B6F649}" dt="2023-02-06T00:11:36.278" v="25" actId="478"/>
          <ac:picMkLst>
            <pc:docMk/>
            <pc:sldMk cId="1259856727" sldId="292"/>
            <ac:picMk id="8" creationId="{CF00FD28-5E38-7692-A3B9-F2069E86DAA8}"/>
          </ac:picMkLst>
        </pc:picChg>
      </pc:sldChg>
      <pc:sldChg chg="delSp mod">
        <pc:chgData name="Roberto Gallardo" userId="49a044883f185952" providerId="LiveId" clId="{F9AB91B2-BAF9-4239-B4B5-87EA66B6F649}" dt="2023-02-06T00:11:04.485" v="17" actId="478"/>
        <pc:sldMkLst>
          <pc:docMk/>
          <pc:sldMk cId="3324519687" sldId="293"/>
        </pc:sldMkLst>
        <pc:picChg chg="del">
          <ac:chgData name="Roberto Gallardo" userId="49a044883f185952" providerId="LiveId" clId="{F9AB91B2-BAF9-4239-B4B5-87EA66B6F649}" dt="2023-02-06T00:11:04.485" v="17" actId="478"/>
          <ac:picMkLst>
            <pc:docMk/>
            <pc:sldMk cId="3324519687" sldId="293"/>
            <ac:picMk id="9" creationId="{857220EB-001E-BBC5-093B-8C24596738CE}"/>
          </ac:picMkLst>
        </pc:picChg>
      </pc:sldChg>
      <pc:sldChg chg="delSp mod">
        <pc:chgData name="Roberto Gallardo" userId="49a044883f185952" providerId="LiveId" clId="{F9AB91B2-BAF9-4239-B4B5-87EA66B6F649}" dt="2023-02-06T00:10:54.672" v="15" actId="478"/>
        <pc:sldMkLst>
          <pc:docMk/>
          <pc:sldMk cId="3256182630" sldId="295"/>
        </pc:sldMkLst>
        <pc:picChg chg="del">
          <ac:chgData name="Roberto Gallardo" userId="49a044883f185952" providerId="LiveId" clId="{F9AB91B2-BAF9-4239-B4B5-87EA66B6F649}" dt="2023-02-06T00:10:54.672" v="15" actId="478"/>
          <ac:picMkLst>
            <pc:docMk/>
            <pc:sldMk cId="3256182630" sldId="295"/>
            <ac:picMk id="6" creationId="{93D8D6F0-D0A9-FCE5-B024-33062FB98A83}"/>
          </ac:picMkLst>
        </pc:picChg>
      </pc:sldChg>
      <pc:sldChg chg="delSp mod">
        <pc:chgData name="Roberto Gallardo" userId="49a044883f185952" providerId="LiveId" clId="{F9AB91B2-BAF9-4239-B4B5-87EA66B6F649}" dt="2023-02-06T00:10:58.939" v="16" actId="478"/>
        <pc:sldMkLst>
          <pc:docMk/>
          <pc:sldMk cId="4057156843" sldId="296"/>
        </pc:sldMkLst>
        <pc:picChg chg="del">
          <ac:chgData name="Roberto Gallardo" userId="49a044883f185952" providerId="LiveId" clId="{F9AB91B2-BAF9-4239-B4B5-87EA66B6F649}" dt="2023-02-06T00:10:58.939" v="16" actId="478"/>
          <ac:picMkLst>
            <pc:docMk/>
            <pc:sldMk cId="4057156843" sldId="296"/>
            <ac:picMk id="7" creationId="{98D345FF-36E0-779A-A6AA-657BDCF6BCE3}"/>
          </ac:picMkLst>
        </pc:picChg>
      </pc:sldChg>
      <pc:sldChg chg="delSp mod">
        <pc:chgData name="Roberto Gallardo" userId="49a044883f185952" providerId="LiveId" clId="{F9AB91B2-BAF9-4239-B4B5-87EA66B6F649}" dt="2023-02-06T00:10:51.285" v="14" actId="478"/>
        <pc:sldMkLst>
          <pc:docMk/>
          <pc:sldMk cId="2080110827" sldId="297"/>
        </pc:sldMkLst>
        <pc:picChg chg="del">
          <ac:chgData name="Roberto Gallardo" userId="49a044883f185952" providerId="LiveId" clId="{F9AB91B2-BAF9-4239-B4B5-87EA66B6F649}" dt="2023-02-06T00:10:51.285" v="14" actId="478"/>
          <ac:picMkLst>
            <pc:docMk/>
            <pc:sldMk cId="2080110827" sldId="297"/>
            <ac:picMk id="7" creationId="{FA7AA24C-289D-D5F1-A79D-1877B250B48C}"/>
          </ac:picMkLst>
        </pc:picChg>
      </pc:sldChg>
      <pc:sldChg chg="delSp mod">
        <pc:chgData name="Roberto Gallardo" userId="49a044883f185952" providerId="LiveId" clId="{F9AB91B2-BAF9-4239-B4B5-87EA66B6F649}" dt="2023-02-06T00:10:47.418" v="13" actId="478"/>
        <pc:sldMkLst>
          <pc:docMk/>
          <pc:sldMk cId="1532666867" sldId="298"/>
        </pc:sldMkLst>
        <pc:picChg chg="del">
          <ac:chgData name="Roberto Gallardo" userId="49a044883f185952" providerId="LiveId" clId="{F9AB91B2-BAF9-4239-B4B5-87EA66B6F649}" dt="2023-02-06T00:10:47.418" v="13" actId="478"/>
          <ac:picMkLst>
            <pc:docMk/>
            <pc:sldMk cId="1532666867" sldId="298"/>
            <ac:picMk id="6" creationId="{DF76BE9D-2515-C01B-6750-0A70245BBEC0}"/>
          </ac:picMkLst>
        </pc:picChg>
      </pc:sldChg>
      <pc:sldChg chg="delSp mod">
        <pc:chgData name="Roberto Gallardo" userId="49a044883f185952" providerId="LiveId" clId="{F9AB91B2-BAF9-4239-B4B5-87EA66B6F649}" dt="2023-02-06T00:11:47.811" v="28" actId="478"/>
        <pc:sldMkLst>
          <pc:docMk/>
          <pc:sldMk cId="1951376777" sldId="299"/>
        </pc:sldMkLst>
        <pc:picChg chg="del">
          <ac:chgData name="Roberto Gallardo" userId="49a044883f185952" providerId="LiveId" clId="{F9AB91B2-BAF9-4239-B4B5-87EA66B6F649}" dt="2023-02-06T00:11:47.811" v="28" actId="478"/>
          <ac:picMkLst>
            <pc:docMk/>
            <pc:sldMk cId="1951376777" sldId="299"/>
            <ac:picMk id="5" creationId="{B3B698FB-4AEA-CDBC-DBD6-2BFDA8D589E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Upper Coastal Plain</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03207102736003</c:v>
                </c:pt>
                <c:pt idx="2">
                  <c:v>1.0183004167421634</c:v>
                </c:pt>
                <c:pt idx="3">
                  <c:v>1.0279217249501722</c:v>
                </c:pt>
                <c:pt idx="4">
                  <c:v>1.0401848160898715</c:v>
                </c:pt>
                <c:pt idx="5">
                  <c:v>1.0500018119224497</c:v>
                </c:pt>
                <c:pt idx="6">
                  <c:v>1.0567312919007066</c:v>
                </c:pt>
                <c:pt idx="7">
                  <c:v>1.0640115963036783</c:v>
                </c:pt>
                <c:pt idx="8">
                  <c:v>1.0680992933502447</c:v>
                </c:pt>
                <c:pt idx="9">
                  <c:v>1.072368182641783</c:v>
                </c:pt>
                <c:pt idx="10">
                  <c:v>1.0736401522014858</c:v>
                </c:pt>
                <c:pt idx="11">
                  <c:v>1.071922449719152</c:v>
                </c:pt>
                <c:pt idx="12">
                  <c:v>1.0728501540134083</c:v>
                </c:pt>
                <c:pt idx="13">
                  <c:v>1.0725747418010509</c:v>
                </c:pt>
                <c:pt idx="14">
                  <c:v>1.0713788729842362</c:v>
                </c:pt>
                <c:pt idx="15">
                  <c:v>1.0723391918825875</c:v>
                </c:pt>
                <c:pt idx="16">
                  <c:v>1.0741547381772061</c:v>
                </c:pt>
                <c:pt idx="17">
                  <c:v>1.0801920637796703</c:v>
                </c:pt>
                <c:pt idx="18">
                  <c:v>1.0864431962312013</c:v>
                </c:pt>
                <c:pt idx="19">
                  <c:v>1.0859322341003805</c:v>
                </c:pt>
                <c:pt idx="20">
                  <c:v>1.1241456785649575</c:v>
                </c:pt>
                <c:pt idx="21">
                  <c:v>1.11967747780395</c:v>
                </c:pt>
                <c:pt idx="22">
                  <c:v>1.1135169414749049</c:v>
                </c:pt>
                <c:pt idx="23">
                  <c:v>1.1055444826961407</c:v>
                </c:pt>
                <c:pt idx="24">
                  <c:v>1.1000471099836926</c:v>
                </c:pt>
                <c:pt idx="25">
                  <c:v>1.0925312556622577</c:v>
                </c:pt>
                <c:pt idx="26">
                  <c:v>1.0889110346077189</c:v>
                </c:pt>
                <c:pt idx="27">
                  <c:v>1.0850226490306214</c:v>
                </c:pt>
                <c:pt idx="28">
                  <c:v>1.0791882587425259</c:v>
                </c:pt>
                <c:pt idx="29">
                  <c:v>1.0765138612067404</c:v>
                </c:pt>
                <c:pt idx="30">
                  <c:v>1.0453632904511687</c:v>
                </c:pt>
                <c:pt idx="31">
                  <c:v>1.0411487588331219</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60.797877741673432</c:v>
                </c:pt>
                <c:pt idx="1">
                  <c:v>8.1506496479880948</c:v>
                </c:pt>
                <c:pt idx="2">
                  <c:v>62.072233336843219</c:v>
                </c:pt>
                <c:pt idx="3">
                  <c:v>1.3306733577392948</c:v>
                </c:pt>
                <c:pt idx="4">
                  <c:v>58.437627811860935</c:v>
                </c:pt>
                <c:pt idx="5">
                  <c:v>47.6</c:v>
                </c:pt>
                <c:pt idx="6">
                  <c:v>50.9</c:v>
                </c:pt>
                <c:pt idx="7">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6.3490048740861091</c:v>
                </c:pt>
                <c:pt idx="1">
                  <c:v>4.4530936981283267</c:v>
                </c:pt>
                <c:pt idx="2">
                  <c:v>0.28114141307781404</c:v>
                </c:pt>
                <c:pt idx="3">
                  <c:v>2.2623503763728355E-2</c:v>
                </c:pt>
                <c:pt idx="4">
                  <c:v>1.4519427402862985</c:v>
                </c:pt>
                <c:pt idx="5">
                  <c:v>2.2999999999999998</c:v>
                </c:pt>
                <c:pt idx="6">
                  <c:v>18</c:v>
                </c:pt>
                <c:pt idx="7">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36.883123476848091</c:v>
                </c:pt>
                <c:pt idx="1">
                  <c:v>78.490868494876054</c:v>
                </c:pt>
                <c:pt idx="2">
                  <c:v>52.265978730125305</c:v>
                </c:pt>
                <c:pt idx="3">
                  <c:v>52.311710748220975</c:v>
                </c:pt>
                <c:pt idx="4">
                  <c:v>48.932515337423311</c:v>
                </c:pt>
                <c:pt idx="5">
                  <c:v>49.1</c:v>
                </c:pt>
                <c:pt idx="6">
                  <c:v>40.700000000000003</c:v>
                </c:pt>
                <c:pt idx="7">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15.41578508687568</c:v>
                </c:pt>
                <c:pt idx="1">
                  <c:v>19.494920174165458</c:v>
                </c:pt>
                <c:pt idx="2">
                  <c:v>15.568855875594506</c:v>
                </c:pt>
                <c:pt idx="3">
                  <c:v>18.786498239801201</c:v>
                </c:pt>
                <c:pt idx="4">
                  <c:v>16.250560013033031</c:v>
                </c:pt>
                <c:pt idx="5">
                  <c:v>16.399999999999999</c:v>
                </c:pt>
                <c:pt idx="6">
                  <c:v>13.2</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7.3267883115165935</c:v>
                </c:pt>
                <c:pt idx="1">
                  <c:v>7.5125321772117601</c:v>
                </c:pt>
                <c:pt idx="2">
                  <c:v>8.9686646835907258</c:v>
                </c:pt>
                <c:pt idx="3">
                  <c:v>6.1377632872742334</c:v>
                </c:pt>
                <c:pt idx="4">
                  <c:v>7.5898453823652314</c:v>
                </c:pt>
                <c:pt idx="5">
                  <c:v>7.7</c:v>
                </c:pt>
                <c:pt idx="6">
                  <c:v>8</c:v>
                </c:pt>
                <c:pt idx="7">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54.028207599817364</c:v>
                </c:pt>
                <c:pt idx="1">
                  <c:v>61.511413741139698</c:v>
                </c:pt>
                <c:pt idx="2">
                  <c:v>51.841949528680729</c:v>
                </c:pt>
                <c:pt idx="3">
                  <c:v>62.394757663670852</c:v>
                </c:pt>
                <c:pt idx="4">
                  <c:v>64.548771392287691</c:v>
                </c:pt>
                <c:pt idx="5">
                  <c:v>57</c:v>
                </c:pt>
                <c:pt idx="6">
                  <c:v>37.9</c:v>
                </c:pt>
                <c:pt idx="7">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18.864270220018593</c:v>
                </c:pt>
                <c:pt idx="1">
                  <c:v>20.800605108512251</c:v>
                </c:pt>
                <c:pt idx="2">
                  <c:v>14.709373853359523</c:v>
                </c:pt>
                <c:pt idx="3">
                  <c:v>26.23806651552653</c:v>
                </c:pt>
                <c:pt idx="4">
                  <c:v>22.815801843412149</c:v>
                </c:pt>
                <c:pt idx="5">
                  <c:v>19.600000000000001</c:v>
                </c:pt>
                <c:pt idx="6">
                  <c:v>13.7</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43.880550343964977</c:v>
                </c:pt>
                <c:pt idx="1">
                  <c:v>57.293497363796128</c:v>
                </c:pt>
                <c:pt idx="2">
                  <c:v>44.349867918990313</c:v>
                </c:pt>
                <c:pt idx="3">
                  <c:v>49.508703675993814</c:v>
                </c:pt>
                <c:pt idx="4">
                  <c:v>51.326652474167922</c:v>
                </c:pt>
                <c:pt idx="5">
                  <c:v>47.1</c:v>
                </c:pt>
                <c:pt idx="6">
                  <c:v>39.700000000000003</c:v>
                </c:pt>
                <c:pt idx="7">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30.246085053158218</c:v>
                </c:pt>
                <c:pt idx="1">
                  <c:v>24.403744761389746</c:v>
                </c:pt>
                <c:pt idx="2">
                  <c:v>29.488110040825045</c:v>
                </c:pt>
                <c:pt idx="3">
                  <c:v>27.128500174572295</c:v>
                </c:pt>
                <c:pt idx="4">
                  <c:v>30.631512539591871</c:v>
                </c:pt>
                <c:pt idx="5">
                  <c:v>29.2</c:v>
                </c:pt>
                <c:pt idx="6">
                  <c:v>30</c:v>
                </c:pt>
                <c:pt idx="7">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10.006253908692933</c:v>
                </c:pt>
                <c:pt idx="1">
                  <c:v>1.9602541570907124</c:v>
                </c:pt>
                <c:pt idx="2">
                  <c:v>5.7555300584358404</c:v>
                </c:pt>
                <c:pt idx="3">
                  <c:v>3.7807371938750065</c:v>
                </c:pt>
                <c:pt idx="4">
                  <c:v>4.7977568928812504</c:v>
                </c:pt>
                <c:pt idx="5">
                  <c:v>6.2</c:v>
                </c:pt>
                <c:pt idx="6">
                  <c:v>12</c:v>
                </c:pt>
                <c:pt idx="7">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59.446533948645595</c:v>
                </c:pt>
                <c:pt idx="1">
                  <c:v>62.061419373856829</c:v>
                </c:pt>
                <c:pt idx="2">
                  <c:v>43.004040800719281</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1.30576713819368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AC-4C0F-91E4-EC4375DD300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12.190838839052297</c:v>
                </c:pt>
                <c:pt idx="1">
                  <c:v>20.840642568328686</c:v>
                </c:pt>
                <c:pt idx="2">
                  <c:v>45.793674579470803</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D$2:$D$4</c:f>
              <c:numCache>
                <c:formatCode>#,##0.0</c:formatCode>
                <c:ptCount val="3"/>
                <c:pt idx="0">
                  <c:v>5.6273166828741399</c:v>
                </c:pt>
                <c:pt idx="1">
                  <c:v>3.0106138484127842</c:v>
                </c:pt>
                <c:pt idx="2">
                  <c:v>0.75579853180795697</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E$2:$E$4</c:f>
              <c:numCache>
                <c:formatCode>#,##0.0</c:formatCode>
                <c:ptCount val="3"/>
                <c:pt idx="0">
                  <c:v>18.441695441790866</c:v>
                </c:pt>
                <c:pt idx="1">
                  <c:v>9.8073487256031662</c:v>
                </c:pt>
                <c:pt idx="2">
                  <c:v>6.88451853153237</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F$2:$F$4</c:f>
              <c:numCache>
                <c:formatCode>#,##0.0</c:formatCode>
                <c:ptCount val="3"/>
                <c:pt idx="0">
                  <c:v>4.2936150876370931</c:v>
                </c:pt>
                <c:pt idx="1">
                  <c:v>4.2799754837985375</c:v>
                </c:pt>
                <c:pt idx="2">
                  <c:v>3.5619675564695967</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6.143777586119425</c:v>
                </c:pt>
                <c:pt idx="1">
                  <c:v>1.8808952391583411</c:v>
                </c:pt>
                <c:pt idx="2">
                  <c:v>4.2862577672570481</c:v>
                </c:pt>
                <c:pt idx="3">
                  <c:v>2.1403501653445862</c:v>
                </c:pt>
                <c:pt idx="4">
                  <c:v>2.8119897599225947</c:v>
                </c:pt>
                <c:pt idx="5">
                  <c:v>4</c:v>
                </c:pt>
                <c:pt idx="6">
                  <c:v>8.1999999999999993</c:v>
                </c:pt>
                <c:pt idx="7">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5.5439560439560438</c:v>
                </c:pt>
                <c:pt idx="1">
                  <c:v>32.709984152139462</c:v>
                </c:pt>
                <c:pt idx="2">
                  <c:v>7.4795425180647941</c:v>
                </c:pt>
                <c:pt idx="3">
                  <c:v>20.836079465210432</c:v>
                </c:pt>
                <c:pt idx="4">
                  <c:v>14.176991150442477</c:v>
                </c:pt>
                <c:pt idx="5">
                  <c:v>11.6</c:v>
                </c:pt>
                <c:pt idx="6">
                  <c:v>5.7</c:v>
                </c:pt>
                <c:pt idx="7">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27.262969588550984</c:v>
                </c:pt>
                <c:pt idx="1">
                  <c:v>30.738522954091817</c:v>
                </c:pt>
                <c:pt idx="2">
                  <c:v>19.484444444444442</c:v>
                </c:pt>
                <c:pt idx="3">
                  <c:v>25.067170862772414</c:v>
                </c:pt>
                <c:pt idx="4">
                  <c:v>28.837354409317804</c:v>
                </c:pt>
                <c:pt idx="5">
                  <c:v>25</c:v>
                </c:pt>
                <c:pt idx="6">
                  <c:v>15.9</c:v>
                </c:pt>
                <c:pt idx="7">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5.53831506966017</c:v>
                </c:pt>
                <c:pt idx="1">
                  <c:v>2.6676851214289297</c:v>
                </c:pt>
                <c:pt idx="2">
                  <c:v>8.1955301363408175</c:v>
                </c:pt>
                <c:pt idx="3">
                  <c:v>2.7715861086034557</c:v>
                </c:pt>
                <c:pt idx="4">
                  <c:v>4.1041920037420914</c:v>
                </c:pt>
                <c:pt idx="5">
                  <c:v>4.8</c:v>
                </c:pt>
                <c:pt idx="6">
                  <c:v>6.8</c:v>
                </c:pt>
                <c:pt idx="7">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55.900562851782368</c:v>
                </c:pt>
                <c:pt idx="1">
                  <c:v>79.00500202784913</c:v>
                </c:pt>
                <c:pt idx="2">
                  <c:v>32.916188595672011</c:v>
                </c:pt>
                <c:pt idx="3">
                  <c:v>84.373285450645923</c:v>
                </c:pt>
                <c:pt idx="4">
                  <c:v>69.437665507035675</c:v>
                </c:pt>
                <c:pt idx="5">
                  <c:v>57.1</c:v>
                </c:pt>
                <c:pt idx="6">
                  <c:v>20.7</c:v>
                </c:pt>
                <c:pt idx="7">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ilson</c:v>
                </c:pt>
                <c:pt idx="1">
                  <c:v>Northampton</c:v>
                </c:pt>
                <c:pt idx="2">
                  <c:v>Nash</c:v>
                </c:pt>
                <c:pt idx="3">
                  <c:v>Halifax</c:v>
                </c:pt>
                <c:pt idx="4">
                  <c:v>Edgecombe</c:v>
                </c:pt>
                <c:pt idx="5">
                  <c:v>Upper Coastal Plain</c:v>
                </c:pt>
                <c:pt idx="6">
                  <c:v>North Carolina</c:v>
                </c:pt>
                <c:pt idx="7">
                  <c:v>United States</c:v>
                </c:pt>
              </c:strCache>
            </c:strRef>
          </c:cat>
          <c:val>
            <c:numRef>
              <c:f>Sheet1!$B$2:$B$9</c:f>
              <c:numCache>
                <c:formatCode>0.0</c:formatCode>
                <c:ptCount val="8"/>
                <c:pt idx="0">
                  <c:v>50.69105691056911</c:v>
                </c:pt>
                <c:pt idx="1">
                  <c:v>94.97093416249831</c:v>
                </c:pt>
                <c:pt idx="2">
                  <c:v>37.892574112122105</c:v>
                </c:pt>
                <c:pt idx="3">
                  <c:v>89.221407551498828</c:v>
                </c:pt>
                <c:pt idx="4">
                  <c:v>100</c:v>
                </c:pt>
                <c:pt idx="5">
                  <c:v>64.2</c:v>
                </c:pt>
                <c:pt idx="6">
                  <c:v>29.7</c:v>
                </c:pt>
                <c:pt idx="7">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0</c:formatCode>
                <c:ptCount val="3"/>
                <c:pt idx="0">
                  <c:v>3.9456284717007351</c:v>
                </c:pt>
                <c:pt idx="1">
                  <c:v>4.4296238962062287</c:v>
                </c:pt>
                <c:pt idx="2">
                  <c:v>1.79</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9.6993852410295798</c:v>
                </c:pt>
                <c:pt idx="1">
                  <c:v>10.285900434333007</c:v>
                </c:pt>
                <c:pt idx="2" formatCode="#,##0.0">
                  <c:v>4.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9.5092908053327836</c:v>
                </c:pt>
                <c:pt idx="1">
                  <c:v>10.158199176779275</c:v>
                </c:pt>
                <c:pt idx="2" formatCode="#,##0.0">
                  <c:v>4.5</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35.163543124718231</c:v>
                </c:pt>
                <c:pt idx="1">
                  <c:v>32.670704756158578</c:v>
                </c:pt>
                <c:pt idx="2">
                  <c:v>2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9.5092908053327836</c:v>
                </c:pt>
                <c:pt idx="1">
                  <c:v>10.158199176779275</c:v>
                </c:pt>
                <c:pt idx="2">
                  <c:v>4.5</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3.4315339366940902</c:v>
                </c:pt>
                <c:pt idx="1">
                  <c:v>3.1906212529243381</c:v>
                </c:pt>
                <c:pt idx="2" formatCode="#,##0.0">
                  <c:v>0.8</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22.513903012548795</c:v>
                </c:pt>
                <c:pt idx="1">
                  <c:v>22.208065151207357</c:v>
                </c:pt>
                <c:pt idx="2">
                  <c:v>22.145861537984558</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9.2013176864544484</c:v>
                </c:pt>
                <c:pt idx="1">
                  <c:v>9.4514220187822495</c:v>
                </c:pt>
                <c:pt idx="2">
                  <c:v>8.1077822445907355</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D$2:$D$4</c:f>
              <c:numCache>
                <c:formatCode>#,##0.0</c:formatCode>
                <c:ptCount val="3"/>
                <c:pt idx="0">
                  <c:v>39.255165420472913</c:v>
                </c:pt>
                <c:pt idx="1">
                  <c:v>39.051455663931264</c:v>
                </c:pt>
                <c:pt idx="2">
                  <c:v>35.622431439014221</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E$2:$E$4</c:f>
              <c:numCache>
                <c:formatCode>#,##0.0</c:formatCode>
                <c:ptCount val="3"/>
                <c:pt idx="0">
                  <c:v>12.989415579926018</c:v>
                </c:pt>
                <c:pt idx="1">
                  <c:v>13.023682210764095</c:v>
                </c:pt>
                <c:pt idx="2">
                  <c:v>14.651261329227081</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F$2:$F$4</c:f>
              <c:numCache>
                <c:formatCode>#,##0.0</c:formatCode>
                <c:ptCount val="3"/>
                <c:pt idx="0">
                  <c:v>16.040198300597826</c:v>
                </c:pt>
                <c:pt idx="1">
                  <c:v>16.265374955315039</c:v>
                </c:pt>
                <c:pt idx="2">
                  <c:v>19.472663449183401</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28.70828963274613</c:v>
                </c:pt>
                <c:pt idx="1">
                  <c:v>28.399462765329204</c:v>
                </c:pt>
                <c:pt idx="2" formatCode="#,##0.0">
                  <c:v>3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41.555902088108759</c:v>
                </c:pt>
                <c:pt idx="1">
                  <c:v>42.725477774104526</c:v>
                </c:pt>
                <c:pt idx="2" formatCode="#,##0.0">
                  <c:v>45.6</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D$2:$D$4</c:f>
              <c:numCache>
                <c:formatCode>0.0</c:formatCode>
                <c:ptCount val="3"/>
                <c:pt idx="0">
                  <c:v>29.735808279145072</c:v>
                </c:pt>
                <c:pt idx="1">
                  <c:v>28.875059460566249</c:v>
                </c:pt>
                <c:pt idx="2" formatCode="#,##0.0">
                  <c:v>23.5</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B$2:$B$4</c:f>
              <c:numCache>
                <c:formatCode>#,##0.0</c:formatCode>
                <c:ptCount val="3"/>
                <c:pt idx="0">
                  <c:v>11.12595967644428</c:v>
                </c:pt>
                <c:pt idx="1">
                  <c:v>10.962591300115909</c:v>
                </c:pt>
                <c:pt idx="2">
                  <c:v>16.219513399780705</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C$2:$C$4</c:f>
              <c:numCache>
                <c:formatCode>#,##0.0</c:formatCode>
                <c:ptCount val="3"/>
                <c:pt idx="0">
                  <c:v>26.487129599470212</c:v>
                </c:pt>
                <c:pt idx="1">
                  <c:v>25.231126134035375</c:v>
                </c:pt>
                <c:pt idx="2">
                  <c:v>34.573212292434285</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D$2:$D$4</c:f>
              <c:numCache>
                <c:formatCode>#,##0.0</c:formatCode>
                <c:ptCount val="3"/>
                <c:pt idx="0">
                  <c:v>28.716889020511388</c:v>
                </c:pt>
                <c:pt idx="1">
                  <c:v>30.789995477690791</c:v>
                </c:pt>
                <c:pt idx="2">
                  <c:v>30.253474657473355</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Upper Coastal Plain</c:v>
                </c:pt>
              </c:strCache>
            </c:strRef>
          </c:cat>
          <c:val>
            <c:numRef>
              <c:f>Sheet1!$E$2:$E$4</c:f>
              <c:numCache>
                <c:formatCode>#,##0.0</c:formatCode>
                <c:ptCount val="3"/>
                <c:pt idx="0">
                  <c:v>33.670021703574122</c:v>
                </c:pt>
                <c:pt idx="1">
                  <c:v>33.016287088157931</c:v>
                </c:pt>
                <c:pt idx="2">
                  <c:v>18.953799650311655</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Upper Coastal Pla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16.314257076034558</c:v>
                </c:pt>
                <c:pt idx="1">
                  <c:v>13.717421124828533</c:v>
                </c:pt>
                <c:pt idx="2">
                  <c:v>12.29733263598326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Upper Coastal Pla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7.702796412737742</c:v>
                </c:pt>
                <c:pt idx="1">
                  <c:v>14.489841141276525</c:v>
                </c:pt>
                <c:pt idx="2">
                  <c:v>29.03096099718536</c:v>
                </c:pt>
                <c:pt idx="3">
                  <c:v>8.726065866734746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Upper Coastal Pla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7.1994577031859937</c:v>
                </c:pt>
                <c:pt idx="1">
                  <c:v>14.320208449541916</c:v>
                </c:pt>
                <c:pt idx="2">
                  <c:v>11.379171692802574</c:v>
                </c:pt>
                <c:pt idx="3">
                  <c:v>4.794485575695685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Upper Coastal Pla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51.131965944272451</c:v>
                </c:pt>
                <c:pt idx="1">
                  <c:v>50.761135124976505</c:v>
                </c:pt>
                <c:pt idx="2">
                  <c:v>32.126745435016112</c:v>
                </c:pt>
                <c:pt idx="3">
                  <c:v>21.714823750956278</c:v>
                </c:pt>
                <c:pt idx="4">
                  <c:v>17.745013837198208</c:v>
                </c:pt>
                <c:pt idx="5" formatCode="0.0">
                  <c:v>9.068244623332933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Upper Coastal Pla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11.410788381742739</c:v>
                </c:pt>
                <c:pt idx="1">
                  <c:v>22.432465005767806</c:v>
                </c:pt>
                <c:pt idx="2">
                  <c:v>20.207124532979805</c:v>
                </c:pt>
                <c:pt idx="3">
                  <c:v>15.54380950741206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Upper Coastal Plain</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54918693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1148706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9A82F7E-D20A-F0A2-A2AE-924F3B23E8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B2320A2-20F2-0F98-A677-81B394AFAA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1" y="1028700"/>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B9AAA0B-ABB1-63B9-A3E9-8A54CE7249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2292" y="1028700"/>
            <a:ext cx="7583759" cy="5362909"/>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97487916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A41BD05C-C236-F90B-8935-D1A8329814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49482888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AAD9D7AD-E795-0B57-3E3A-B49F5BD754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17364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7" name="Picture 6" descr="Map&#10;&#10;Description automatically generated">
            <a:extLst>
              <a:ext uri="{FF2B5EF4-FFF2-40B4-BE49-F238E27FC236}">
                <a16:creationId xmlns:a16="http://schemas.microsoft.com/office/drawing/2014/main" id="{EBC77254-A4DF-351F-EA6C-B1B5289F452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6093053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C5E457C5-ED5C-5CED-B685-0DE5DD872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1550694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B1374096-2618-41D8-F03F-7708D6B0EB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7068431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9" name="Picture 8" descr="Map&#10;&#10;Description automatically generated">
            <a:extLst>
              <a:ext uri="{FF2B5EF4-FFF2-40B4-BE49-F238E27FC236}">
                <a16:creationId xmlns:a16="http://schemas.microsoft.com/office/drawing/2014/main" id="{EBB4C965-9B9C-6F4B-A658-FB03B5BA3C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3529468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map&#10;&#10;Description automatically generated">
            <a:extLst>
              <a:ext uri="{FF2B5EF4-FFF2-40B4-BE49-F238E27FC236}">
                <a16:creationId xmlns:a16="http://schemas.microsoft.com/office/drawing/2014/main" id="{E3894B73-69DA-B4D7-B42E-253AC550C8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3929124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65945ADD-2FCD-70A4-90E3-436619DC03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086007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EA6B745-A522-E460-5794-D4DBE88FC3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285874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4BAB61A8-73ED-E6D5-228B-E70A024FA7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4947"/>
            <a:ext cx="7239152" cy="511921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152750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C9906559-9669-2C54-E86E-89210362B2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736" y="1155000"/>
            <a:ext cx="7239000" cy="511911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5444680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7E47AC4F-586F-0257-7D3E-D321E5805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3925"/>
            <a:ext cx="7242042" cy="512126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1115772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E4E9A22-EDA8-999D-DC42-D649F83431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8212"/>
            <a:ext cx="7229916" cy="5112687"/>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4316326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85AC303E-5C15-2F57-FA28-15ACFEEFA4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3066" y="1155000"/>
            <a:ext cx="7239000" cy="511911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0434569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22CD850D-DC65-DF08-5866-227709E769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734" y="1155001"/>
            <a:ext cx="7239000" cy="51191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726524533"/>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6385868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F86C499A-8098-0A0A-BE01-AEBC382657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3065" y="1155001"/>
            <a:ext cx="7239000" cy="511911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83849571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16531140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852413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0345" y="336908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3.6</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9963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71604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11144228" y="2727499"/>
            <a:ext cx="5191" cy="6415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290318"/>
            <a:ext cx="0" cy="6992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70236958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32249125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248563257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363736257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57528225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29366493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5005031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94006487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7</TotalTime>
  <Words>1478</Words>
  <Application>Microsoft Office PowerPoint</Application>
  <PresentationFormat>Widescreen</PresentationFormat>
  <Paragraphs>142</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08T00:09:46Z</dcterms:modified>
</cp:coreProperties>
</file>